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2" r:id="rId1"/>
  </p:sldMasterIdLst>
  <p:sldIdLst>
    <p:sldId id="257" r:id="rId2"/>
  </p:sldIdLst>
  <p:sldSz cx="6858000" cy="9144000" type="screen4x3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D15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0573D6-5DAA-4415-BC90-DC63E755C662}" v="1" dt="2024-02-06T13:21:59.9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2070" y="84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tor Hanzlik" userId="fc747be7-e22d-4a0e-b20e-2f711e5672a4" providerId="ADAL" clId="{3F0573D6-5DAA-4415-BC90-DC63E755C662}"/>
    <pc:docChg chg="undo custSel modSld">
      <pc:chgData name="Viktor Hanzlik" userId="fc747be7-e22d-4a0e-b20e-2f711e5672a4" providerId="ADAL" clId="{3F0573D6-5DAA-4415-BC90-DC63E755C662}" dt="2024-02-06T13:23:00.187" v="176" actId="1035"/>
      <pc:docMkLst>
        <pc:docMk/>
      </pc:docMkLst>
      <pc:sldChg chg="addSp modSp mod">
        <pc:chgData name="Viktor Hanzlik" userId="fc747be7-e22d-4a0e-b20e-2f711e5672a4" providerId="ADAL" clId="{3F0573D6-5DAA-4415-BC90-DC63E755C662}" dt="2024-02-06T13:23:00.187" v="176" actId="1035"/>
        <pc:sldMkLst>
          <pc:docMk/>
          <pc:sldMk cId="2167489603" sldId="257"/>
        </pc:sldMkLst>
        <pc:spChg chg="mod">
          <ac:chgData name="Viktor Hanzlik" userId="fc747be7-e22d-4a0e-b20e-2f711e5672a4" providerId="ADAL" clId="{3F0573D6-5DAA-4415-BC90-DC63E755C662}" dt="2024-02-06T13:21:53.321" v="25" actId="1035"/>
          <ac:spMkLst>
            <pc:docMk/>
            <pc:sldMk cId="2167489603" sldId="257"/>
            <ac:spMk id="6" creationId="{00000000-0000-0000-0000-000000000000}"/>
          </ac:spMkLst>
        </pc:spChg>
        <pc:spChg chg="mod">
          <ac:chgData name="Viktor Hanzlik" userId="fc747be7-e22d-4a0e-b20e-2f711e5672a4" providerId="ADAL" clId="{3F0573D6-5DAA-4415-BC90-DC63E755C662}" dt="2024-02-06T13:22:41.123" v="158" actId="20577"/>
          <ac:spMkLst>
            <pc:docMk/>
            <pc:sldMk cId="2167489603" sldId="257"/>
            <ac:spMk id="9" creationId="{00000000-0000-0000-0000-000000000000}"/>
          </ac:spMkLst>
        </pc:spChg>
        <pc:spChg chg="mod">
          <ac:chgData name="Viktor Hanzlik" userId="fc747be7-e22d-4a0e-b20e-2f711e5672a4" providerId="ADAL" clId="{3F0573D6-5DAA-4415-BC90-DC63E755C662}" dt="2024-02-06T13:22:54.120" v="169" actId="1035"/>
          <ac:spMkLst>
            <pc:docMk/>
            <pc:sldMk cId="2167489603" sldId="257"/>
            <ac:spMk id="10" creationId="{00000000-0000-0000-0000-000000000000}"/>
          </ac:spMkLst>
        </pc:spChg>
        <pc:spChg chg="mod">
          <ac:chgData name="Viktor Hanzlik" userId="fc747be7-e22d-4a0e-b20e-2f711e5672a4" providerId="ADAL" clId="{3F0573D6-5DAA-4415-BC90-DC63E755C662}" dt="2024-02-06T13:22:50.095" v="167" actId="1036"/>
          <ac:spMkLst>
            <pc:docMk/>
            <pc:sldMk cId="2167489603" sldId="257"/>
            <ac:spMk id="11" creationId="{00000000-0000-0000-0000-000000000000}"/>
          </ac:spMkLst>
        </pc:spChg>
        <pc:spChg chg="mod">
          <ac:chgData name="Viktor Hanzlik" userId="fc747be7-e22d-4a0e-b20e-2f711e5672a4" providerId="ADAL" clId="{3F0573D6-5DAA-4415-BC90-DC63E755C662}" dt="2024-02-06T13:22:57.489" v="173" actId="1035"/>
          <ac:spMkLst>
            <pc:docMk/>
            <pc:sldMk cId="2167489603" sldId="257"/>
            <ac:spMk id="12" creationId="{00000000-0000-0000-0000-000000000000}"/>
          </ac:spMkLst>
        </pc:spChg>
        <pc:spChg chg="mod">
          <ac:chgData name="Viktor Hanzlik" userId="fc747be7-e22d-4a0e-b20e-2f711e5672a4" providerId="ADAL" clId="{3F0573D6-5DAA-4415-BC90-DC63E755C662}" dt="2024-02-06T13:22:46.100" v="164" actId="1035"/>
          <ac:spMkLst>
            <pc:docMk/>
            <pc:sldMk cId="2167489603" sldId="257"/>
            <ac:spMk id="13" creationId="{00000000-0000-0000-0000-000000000000}"/>
          </ac:spMkLst>
        </pc:spChg>
        <pc:spChg chg="add mod">
          <ac:chgData name="Viktor Hanzlik" userId="fc747be7-e22d-4a0e-b20e-2f711e5672a4" providerId="ADAL" clId="{3F0573D6-5DAA-4415-BC90-DC63E755C662}" dt="2024-02-06T13:23:00.187" v="176" actId="1035"/>
          <ac:spMkLst>
            <pc:docMk/>
            <pc:sldMk cId="2167489603" sldId="257"/>
            <ac:spMk id="14" creationId="{0EFCB027-EAB6-FA57-062B-65EA5A03F10B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304800"/>
            <a:ext cx="5829300" cy="6095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1733" spc="-10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2900" y="6400800"/>
            <a:ext cx="5143500" cy="1219200"/>
          </a:xfrm>
        </p:spPr>
        <p:txBody>
          <a:bodyPr/>
          <a:lstStyle>
            <a:lvl1pPr marL="0" indent="0" algn="l">
              <a:buNone/>
              <a:defRPr b="0" cap="all" spc="160" baseline="0">
                <a:solidFill>
                  <a:schemeClr val="tx2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1DEABC-D766-4322-8E78-B830FAE35C72}" type="datetime4">
              <a:rPr lang="en-US" smtClean="0"/>
              <a:pPr/>
              <a:t>February 6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750843" y="6461760"/>
            <a:ext cx="107157" cy="26822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/>
          <p:cNvSpPr/>
          <p:nvPr/>
        </p:nvSpPr>
        <p:spPr>
          <a:xfrm>
            <a:off x="6750843" y="0"/>
            <a:ext cx="107157" cy="64617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31F9E-604E-4343-9F29-EF72E8231CAD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185"/>
            <a:ext cx="1543050" cy="780203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185"/>
            <a:ext cx="4514850" cy="780203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8E1CE-37F8-4102-8DF9-852A0A51F293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3F43-3E86-47E4-BFBB-2476D384E1C6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930401"/>
            <a:ext cx="5829300" cy="5761567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11733" b="0" cap="all" spc="-10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304801"/>
            <a:ext cx="5829300" cy="1422400"/>
          </a:xfrm>
        </p:spPr>
        <p:txBody>
          <a:bodyPr anchor="b"/>
          <a:lstStyle>
            <a:lvl1pPr marL="0" indent="0">
              <a:buNone/>
              <a:defRPr sz="2667" b="0" cap="all" spc="160" baseline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663BA-01FC-4367-B6F3-ABB2645D55F1}" type="datetime4">
              <a:rPr lang="en-US" smtClean="0"/>
              <a:pPr/>
              <a:t>February 6, 2024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23010" y="2099734"/>
            <a:ext cx="2468880" cy="603461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620" y="2099734"/>
            <a:ext cx="2468880" cy="603461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19C71-EC74-44AF-B27E-FC7DC3C3A61D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0724" y="2097024"/>
            <a:ext cx="2468880" cy="853016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 spc="133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20724" y="3012488"/>
            <a:ext cx="2468880" cy="512064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9906" y="2097024"/>
            <a:ext cx="2468880" cy="853016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0" kern="1200" cap="all" spc="133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marL="0" lvl="0" indent="0" algn="l" defTabSz="121917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9906" y="3012488"/>
            <a:ext cx="2468880" cy="512064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CDA29-3CBE-48EA-92AE-A996835462BA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EC054-3869-4501-B163-1BBFDE8DCE04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3D831-56C1-49CF-8EF7-8B9A98402BCD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7" y="2133600"/>
            <a:ext cx="3833813" cy="5974080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133600"/>
            <a:ext cx="2256235" cy="59740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D5615-7F4F-4584-84D5-CC95918C321F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750843" y="6461760"/>
            <a:ext cx="107157" cy="26822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6750658" cy="646176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7620000"/>
            <a:ext cx="6115050" cy="609600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EA923-9BEE-48CE-9F28-5B525F399BAD}" type="datetime4">
              <a:rPr lang="en-US" smtClean="0"/>
              <a:pPr/>
              <a:t>February 6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42900" y="6604000"/>
            <a:ext cx="6115050" cy="1016000"/>
          </a:xfrm>
        </p:spPr>
        <p:txBody>
          <a:bodyPr anchor="t">
            <a:normAutofit/>
          </a:bodyPr>
          <a:lstStyle>
            <a:lvl1pPr>
              <a:defRPr sz="42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750843" y="0"/>
            <a:ext cx="107157" cy="64617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46770772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76CE269-A276-4584-BECE-89B3E47283B7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03624"/>
            <a:ext cx="4343400" cy="1828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336801"/>
            <a:ext cx="5715000" cy="58314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8229601"/>
            <a:ext cx="2571750" cy="4064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333">
                <a:solidFill>
                  <a:schemeClr val="tx1"/>
                </a:solidFill>
              </a:defRPr>
            </a:lvl1pPr>
          </a:lstStyle>
          <a:p>
            <a:fld id="{17D0EFEE-2756-4A20-BF2A-63F0A94F99AC}" type="datetime4">
              <a:rPr lang="en-US" smtClean="0"/>
              <a:pPr/>
              <a:t>February 6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657167"/>
            <a:ext cx="2571750" cy="37846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333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5786781" y="7953825"/>
            <a:ext cx="175429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750843" y="0"/>
            <a:ext cx="107157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/>
          <p:cNvSpPr/>
          <p:nvPr/>
        </p:nvSpPr>
        <p:spPr>
          <a:xfrm>
            <a:off x="6750843" y="1828800"/>
            <a:ext cx="107157" cy="7315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4800" kern="1200" cap="all" spc="-8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spcAft>
          <a:spcPts val="800"/>
        </a:spcAft>
        <a:buFont typeface="Arial" pitchFamily="34" charset="0"/>
        <a:buNone/>
        <a:defRPr sz="26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1965363"/>
              </p:ext>
            </p:extLst>
          </p:nvPr>
        </p:nvGraphicFramePr>
        <p:xfrm>
          <a:off x="-2664882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664882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A4202FD-BBF3-41C1-A2E8-2C15D7CEF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cs-CZ" sz="48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916840"/>
            <a:ext cx="6248400" cy="701061"/>
          </a:xfrm>
        </p:spPr>
        <p:txBody>
          <a:bodyPr vert="horz"/>
          <a:lstStyle/>
          <a:p>
            <a:r>
              <a:rPr lang="en-US" dirty="0"/>
              <a:t>P</a:t>
            </a:r>
            <a:r>
              <a:rPr lang="cs-CZ" dirty="0" err="1"/>
              <a:t>ČG</a:t>
            </a:r>
            <a:r>
              <a:rPr lang="cs-CZ" dirty="0"/>
              <a:t> </a:t>
            </a:r>
            <a:r>
              <a:rPr lang="cs-CZ" dirty="0" err="1"/>
              <a:t>Writing</a:t>
            </a:r>
            <a:r>
              <a:rPr lang="cs-CZ" dirty="0"/>
              <a:t> </a:t>
            </a:r>
            <a:br>
              <a:rPr lang="en-US" dirty="0"/>
            </a:br>
            <a:r>
              <a:rPr lang="cs-CZ" dirty="0"/>
              <a:t>challenge 20</a:t>
            </a:r>
            <a:r>
              <a:rPr lang="en-US" dirty="0"/>
              <a:t>24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4800" y="6553200"/>
            <a:ext cx="639908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</a:rPr>
              <a:t>1</a:t>
            </a:r>
            <a:r>
              <a:rPr lang="en-US" sz="1400" baseline="30000" dirty="0">
                <a:solidFill>
                  <a:srgbClr val="C00000"/>
                </a:solidFill>
              </a:rPr>
              <a:t>st</a:t>
            </a:r>
            <a:r>
              <a:rPr lang="en-US" sz="1400" dirty="0">
                <a:solidFill>
                  <a:srgbClr val="C00000"/>
                </a:solidFill>
              </a:rPr>
              <a:t> prize: new iPhone SE + subscription to Wired and National Geographic for 1 year + Discover participation fee</a:t>
            </a:r>
          </a:p>
          <a:p>
            <a:endParaRPr lang="en-US" sz="800" dirty="0">
              <a:solidFill>
                <a:srgbClr val="C00000"/>
              </a:solidFill>
            </a:endParaRPr>
          </a:p>
          <a:p>
            <a:r>
              <a:rPr lang="en-US" sz="1400" dirty="0">
                <a:solidFill>
                  <a:srgbClr val="C00000"/>
                </a:solidFill>
              </a:rPr>
              <a:t>2</a:t>
            </a:r>
            <a:r>
              <a:rPr lang="en-US" sz="1400" baseline="30000" dirty="0">
                <a:solidFill>
                  <a:srgbClr val="C00000"/>
                </a:solidFill>
              </a:rPr>
              <a:t>nd</a:t>
            </a:r>
            <a:r>
              <a:rPr lang="en-US" sz="1400" dirty="0">
                <a:solidFill>
                  <a:srgbClr val="C00000"/>
                </a:solidFill>
              </a:rPr>
              <a:t> prize: subscription to Wired and National Geographic for 1 year + Discover participation fee</a:t>
            </a:r>
          </a:p>
          <a:p>
            <a:endParaRPr lang="en-US" sz="800" dirty="0">
              <a:solidFill>
                <a:srgbClr val="C00000"/>
              </a:solidFill>
            </a:endParaRPr>
          </a:p>
          <a:p>
            <a:r>
              <a:rPr lang="en-US" sz="1400" dirty="0">
                <a:solidFill>
                  <a:srgbClr val="C00000"/>
                </a:solidFill>
              </a:rPr>
              <a:t>3</a:t>
            </a:r>
            <a:r>
              <a:rPr lang="en-US" sz="1400" baseline="30000" dirty="0">
                <a:solidFill>
                  <a:srgbClr val="C00000"/>
                </a:solidFill>
              </a:rPr>
              <a:t>rd</a:t>
            </a:r>
            <a:r>
              <a:rPr lang="en-US" sz="1400" dirty="0">
                <a:solidFill>
                  <a:srgbClr val="C00000"/>
                </a:solidFill>
              </a:rPr>
              <a:t> prize: subscription to National Geographic for 1 year + Discover participation fe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6090" y="8201482"/>
            <a:ext cx="60258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/>
              <a:t>The competition is open to students of years V-VIII of the 8-year </a:t>
            </a:r>
            <a:r>
              <a:rPr lang="cs-CZ" sz="1000" i="1" dirty="0" err="1"/>
              <a:t>PČG</a:t>
            </a:r>
            <a:r>
              <a:rPr lang="cs-CZ" sz="1000" i="1" dirty="0"/>
              <a:t> </a:t>
            </a:r>
            <a:r>
              <a:rPr lang="cs-CZ" sz="1000" i="1" dirty="0" err="1"/>
              <a:t>programme</a:t>
            </a:r>
            <a:r>
              <a:rPr lang="cs-CZ" sz="1000" i="1" dirty="0"/>
              <a:t> and </a:t>
            </a:r>
            <a:r>
              <a:rPr lang="cs-CZ" sz="1000" i="1" dirty="0" err="1"/>
              <a:t>all</a:t>
            </a:r>
            <a:r>
              <a:rPr lang="cs-CZ" sz="1000" i="1" dirty="0"/>
              <a:t> </a:t>
            </a:r>
            <a:r>
              <a:rPr lang="cs-CZ" sz="1000" i="1" dirty="0" err="1"/>
              <a:t>students</a:t>
            </a:r>
            <a:r>
              <a:rPr lang="cs-CZ" sz="1000" i="1" dirty="0"/>
              <a:t> </a:t>
            </a:r>
            <a:r>
              <a:rPr lang="cs-CZ" sz="1000" i="1" dirty="0" err="1"/>
              <a:t>of</a:t>
            </a:r>
            <a:r>
              <a:rPr lang="cs-CZ" sz="1000" i="1" dirty="0"/>
              <a:t> </a:t>
            </a:r>
            <a:r>
              <a:rPr lang="cs-CZ" sz="1000" i="1" dirty="0" err="1"/>
              <a:t>the</a:t>
            </a:r>
            <a:r>
              <a:rPr lang="cs-CZ" sz="1000" i="1" dirty="0"/>
              <a:t> 4-year </a:t>
            </a:r>
            <a:r>
              <a:rPr lang="cs-CZ" sz="1000" i="1" dirty="0" err="1"/>
              <a:t>PČG</a:t>
            </a:r>
            <a:r>
              <a:rPr lang="cs-CZ" sz="1000" i="1" dirty="0"/>
              <a:t> </a:t>
            </a:r>
            <a:r>
              <a:rPr lang="cs-CZ" sz="1000" i="1" dirty="0" err="1"/>
              <a:t>programme</a:t>
            </a:r>
            <a:endParaRPr lang="cs-CZ" sz="1000" i="1" dirty="0"/>
          </a:p>
          <a:p>
            <a:r>
              <a:rPr lang="en-US" sz="1000" i="1" dirty="0"/>
              <a:t>Full</a:t>
            </a:r>
            <a:r>
              <a:rPr lang="cs-CZ" sz="1000" i="1" dirty="0"/>
              <a:t> </a:t>
            </a:r>
            <a:r>
              <a:rPr lang="cs-CZ" sz="1000" i="1" dirty="0" err="1"/>
              <a:t>competition</a:t>
            </a:r>
            <a:r>
              <a:rPr lang="cs-CZ" sz="1000" i="1" dirty="0"/>
              <a:t> </a:t>
            </a:r>
            <a:r>
              <a:rPr lang="cs-CZ" sz="1000" i="1" dirty="0" err="1"/>
              <a:t>rules</a:t>
            </a:r>
            <a:r>
              <a:rPr lang="cs-CZ" sz="1000" i="1" dirty="0"/>
              <a:t> are </a:t>
            </a:r>
            <a:r>
              <a:rPr lang="cs-CZ" sz="1000" i="1" dirty="0" err="1"/>
              <a:t>available</a:t>
            </a:r>
            <a:r>
              <a:rPr lang="cs-CZ" sz="1000" i="1" dirty="0"/>
              <a:t> </a:t>
            </a:r>
            <a:r>
              <a:rPr lang="cs-CZ" sz="1000" i="1" dirty="0" err="1"/>
              <a:t>at</a:t>
            </a:r>
            <a:r>
              <a:rPr lang="cs-CZ" sz="1000" i="1" dirty="0"/>
              <a:t> </a:t>
            </a:r>
            <a:r>
              <a:rPr lang="cs-CZ" sz="1000" i="1" dirty="0" err="1"/>
              <a:t>the</a:t>
            </a:r>
            <a:r>
              <a:rPr lang="cs-CZ" sz="1000" i="1" dirty="0"/>
              <a:t> office of Mgr. Simona Prošková during her office hours </a:t>
            </a:r>
          </a:p>
          <a:p>
            <a:endParaRPr lang="en-US" sz="1000" i="1" dirty="0"/>
          </a:p>
        </p:txBody>
      </p:sp>
      <p:sp>
        <p:nvSpPr>
          <p:cNvPr id="10" name="Rectangle 9"/>
          <p:cNvSpPr/>
          <p:nvPr/>
        </p:nvSpPr>
        <p:spPr>
          <a:xfrm>
            <a:off x="1447800" y="5029200"/>
            <a:ext cx="44250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i="1" dirty="0"/>
              <a:t>“</a:t>
            </a:r>
            <a:r>
              <a:rPr lang="en-U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 your view, how will AI change education? Where would you allow students to use AI and where not and why?</a:t>
            </a:r>
            <a:r>
              <a:rPr lang="en-US" sz="14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”</a:t>
            </a:r>
            <a:endParaRPr lang="en-US" sz="1400" b="1" i="1" dirty="0"/>
          </a:p>
        </p:txBody>
      </p:sp>
      <p:sp>
        <p:nvSpPr>
          <p:cNvPr id="11" name="Rectangle 10"/>
          <p:cNvSpPr/>
          <p:nvPr/>
        </p:nvSpPr>
        <p:spPr>
          <a:xfrm>
            <a:off x="635000" y="4721423"/>
            <a:ext cx="54387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Answer the following question in no more than 600 words: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5000" y="5638800"/>
            <a:ext cx="4927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Deadline for submissions is March 22</a:t>
            </a:r>
            <a:r>
              <a:rPr lang="en-US" sz="1400" baseline="30000" dirty="0"/>
              <a:t>nd</a:t>
            </a:r>
            <a:r>
              <a:rPr lang="en-US" sz="1400" dirty="0"/>
              <a:t>, 2024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35000" y="4191000"/>
            <a:ext cx="57435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Essay writing competition exclusively for students of  </a:t>
            </a:r>
            <a:r>
              <a:rPr lang="en-US" sz="1400" dirty="0" err="1"/>
              <a:t>Prvn</a:t>
            </a:r>
            <a:r>
              <a:rPr lang="cs-CZ" sz="1400" dirty="0"/>
              <a:t>í české gymnázium v Karlových Varech</a:t>
            </a:r>
            <a:endParaRPr lang="en-US" sz="1400" dirty="0"/>
          </a:p>
        </p:txBody>
      </p:sp>
      <p:pic>
        <p:nvPicPr>
          <p:cNvPr id="2115" name="Picture 67" descr="Nvidia's AI Chips Priced Over $40,000 on eBay Amid Surging AI Demand -  Gizmochina">
            <a:extLst>
              <a:ext uri="{FF2B5EF4-FFF2-40B4-BE49-F238E27FC236}">
                <a16:creationId xmlns:a16="http://schemas.microsoft.com/office/drawing/2014/main" id="{62A9D5F0-7C84-750F-83FB-3979A0E80F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675679"/>
            <a:ext cx="4698340" cy="246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EFCB027-EAB6-FA57-062B-65EA5A03F10B}"/>
              </a:ext>
            </a:extLst>
          </p:cNvPr>
          <p:cNvSpPr txBox="1"/>
          <p:nvPr/>
        </p:nvSpPr>
        <p:spPr>
          <a:xfrm>
            <a:off x="635000" y="6019800"/>
            <a:ext cx="49272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Use of AI is allowed but subject to rules and implications for essay scoring – please consult full rules </a:t>
            </a:r>
          </a:p>
        </p:txBody>
      </p:sp>
    </p:spTree>
    <p:extLst>
      <p:ext uri="{BB962C8B-B14F-4D97-AF65-F5344CB8AC3E}">
        <p14:creationId xmlns:p14="http://schemas.microsoft.com/office/powerpoint/2010/main" val="2167489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NEWNAMES" val="True"/>
  <p:tag name="PREVIOUSNAME" val="C:\Users\Viktor Hanzlik\Desktop\Writing challenge\PČG Writing challenge 2018 v2.pptx"/>
  <p:tag name="TSCLIENT" val="Tru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GL.gOT8TXqIMfSm1a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NwHCrSbOY0_gEgqbjX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Essential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sential</Template>
  <TotalTime>245</TotalTime>
  <Words>173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alibri</vt:lpstr>
      <vt:lpstr>Times New Roman</vt:lpstr>
      <vt:lpstr>Essential</vt:lpstr>
      <vt:lpstr>think-cell Slide</vt:lpstr>
      <vt:lpstr>PČG Writing  challenge 2024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ČG Writing challenge 2014</dc:title>
  <dc:creator>Viktor Hanzlik</dc:creator>
  <cp:lastModifiedBy>Viktor Hanzlik</cp:lastModifiedBy>
  <cp:revision>50</cp:revision>
  <dcterms:created xsi:type="dcterms:W3CDTF">2014-11-09T10:38:59Z</dcterms:created>
  <dcterms:modified xsi:type="dcterms:W3CDTF">2024-02-06T13:23:08Z</dcterms:modified>
</cp:coreProperties>
</file>